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144000" cy="6858000" type="screen4x3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120" y="3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2.7310924369747899E-2"/>
          <c:w val="0.94825870646766164"/>
          <c:h val="0.9453781512605041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B7F-40B3-B93D-06F3FB424D7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B7F-40B3-B93D-06F3FB424D7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B7F-40B3-B93D-06F3FB424D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B7F-40B3-B93D-06F3FB424D7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B7F-40B3-B93D-06F3FB424D7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B7F-40B3-B93D-06F3FB424D7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B7F-40B3-B93D-06F3FB424D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86</c:v>
                </c:pt>
                <c:pt idx="2">
                  <c:v>7.2000000000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B7F-40B3-B93D-06F3FB424D7C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B7F-40B3-B93D-06F3FB424D7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B7F-40B3-B93D-06F3FB424D7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B7F-40B3-B93D-06F3FB424D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3.5</c:v>
                </c:pt>
                <c:pt idx="1">
                  <c:v>5.3000000000000007</c:v>
                </c:pt>
                <c:pt idx="2">
                  <c:v>4.100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B7F-40B3-B93D-06F3FB424D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13784735"/>
        <c:axId val="1"/>
      </c:barChart>
      <c:catAx>
        <c:axId val="171378473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.40000000000000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7137847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3.877703206562267E-2"/>
          <c:w val="0.94537815126050417"/>
          <c:h val="0.922445935868754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4BE-4BC7-BFC1-2FB02412B82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4BE-4BC7-BFC1-2FB02412B8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.5</c:v>
                </c:pt>
                <c:pt idx="1">
                  <c:v>5.3</c:v>
                </c:pt>
                <c:pt idx="2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BE-4BC7-BFC1-2FB02412B82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4.4117647058823532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4BE-4BC7-BFC1-2FB02412B821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4BE-4BC7-BFC1-2FB02412B82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4BE-4BC7-BFC1-2FB02412B8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95</c:v>
                </c:pt>
                <c:pt idx="2">
                  <c:v>7.200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4BE-4BC7-BFC1-2FB02412B821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4BE-4BC7-BFC1-2FB02412B821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4BE-4BC7-BFC1-2FB02412B82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4BE-4BC7-BFC1-2FB02412B8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4BE-4BC7-BFC1-2FB02412B8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63673551"/>
        <c:axId val="1"/>
      </c:barChart>
      <c:catAx>
        <c:axId val="17636735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.4000000000000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636735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9EF740-C21C-4079-A32A-93C42BE6C7F6}" type="datetimeFigureOut">
              <a:rPr lang="de-DE" smtClean="0"/>
              <a:t>10.04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chart" Target="../charts/char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6.xml"/><Relationship Id="rId30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200912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8" imgW="524" imgH="524" progId="TCLayout.ActiveDocument.1">
                  <p:embed/>
                </p:oleObj>
              </mc:Choice>
              <mc:Fallback>
                <p:oleObj name="think-cell Slide" r:id="rId28" imgW="524" imgH="524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232A0019-6D04-4B54-8221-6010A40C7FC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77069954"/>
              </p:ext>
            </p:extLst>
          </p:nvPr>
        </p:nvGraphicFramePr>
        <p:xfrm>
          <a:off x="1117600" y="1822450"/>
          <a:ext cx="31908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246438" y="3227388"/>
            <a:ext cx="2317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56E6B5-FBA1-4BE0-8012-C4FCDE511C3B}" type="datetime'''3''''''''''''''''''''1'''''''''''''''">
              <a:rPr lang="de-DE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de-DE" sz="140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627313" y="2274888"/>
            <a:ext cx="2317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7E54BE-B40C-4AE9-A0CE-2D737933A879}" type="datetime'''''''22'''''''''''''''''''''''''''''''''">
              <a:rPr lang="de-DE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e-DE" sz="1400">
              <a:sym typeface="+mn-lt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20725" y="2274888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DA19FD-A687-46B8-941E-73B4621C7708}" type="datetime'''''''''''''2''''''''''''''''''''''''''''''0''''''''''15'''">
              <a:rPr lang="de-DE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de-DE" sz="1400"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20725" y="3227388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303DC0D-78A3-418F-8980-5729F38AB09E}" type="datetime'''''''''''2''''''''''''''''''''016'">
              <a:rPr lang="de-DE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de-DE" sz="1400"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60563" y="1760538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49513A-3485-40E0-8D19-0A4447E2ABC4}" type="datetime'S''e''''''''''''''''''''''''''''ri''''''''''''''e'''''''">
              <a:rPr lang="de-DE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40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20725" y="4179888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E9FBEC-F1F0-48FF-B43F-5D444F56C5F3}" type="datetime'''''''''''''''''2''0''''''''''''''''''''''''''17'''''''''''''">
              <a:rPr lang="de-DE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de-DE" sz="1400"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373313" y="1760538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E4D5DF-F0AF-4CE3-813B-E4EAFAED90E9}" type="datetime'S''eri''''''''''''e'''''''''''''">
              <a:rPr lang="de-DE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400"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439863" y="1760538"/>
            <a:ext cx="361950" cy="2127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042EB6-29B6-4F09-AD10-654DC47CA82C}" type="datetime'S''''e''''''r''''''''''''''''''''i''''e'''''''''''''''''''">
              <a:rPr lang="de-DE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rie</a:t>
            </a:fld>
            <a:endParaRPr lang="de-DE" sz="140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251325" y="4179888"/>
            <a:ext cx="231775" cy="212725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44D0D9-0584-40C4-B4BC-BFD8EE3BFF9E}" type="datetime'''''''''4''''''''''''''''''''6'''''''''''''''''''''">
              <a:rPr lang="de-DE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de-DE" sz="1400">
              <a:sym typeface="+mn-lt"/>
            </a:endParaRP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4924B2A1-4FBA-4C2C-BFEB-F5A2417AA782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79810396"/>
              </p:ext>
            </p:extLst>
          </p:nvPr>
        </p:nvGraphicFramePr>
        <p:xfrm>
          <a:off x="4718050" y="2297113"/>
          <a:ext cx="3022600" cy="2128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E89892B-D0F5-4ACA-948F-23DF9D10C7F7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4894263" y="3897313"/>
            <a:ext cx="85725" cy="1905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49DD91D-399D-442B-AD8B-A3782DBE82D9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4894263" y="4160838"/>
            <a:ext cx="85725" cy="1079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B4A0D35-75FE-4FA0-AC6D-2775052F076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437063" y="3527425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F4743BBD-B449-45B2-B7E3-CF67E099C267}" type="datetime'S''''''''''''e''''''''''''''''r''''''''i''''''''''e''''''''s'">
              <a:rPr lang="en-US" altLang="en-US" sz="1400" smtClean="0">
                <a:sym typeface="+mn-lt"/>
              </a:rPr>
              <a:pPr marL="0" indent="0" algn="r">
                <a:buNone/>
              </a:pPr>
              <a:t>Series</a:t>
            </a:fld>
            <a:endParaRPr lang="en-US" sz="1400" dirty="0"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75096308-18F0-46CB-B30C-FD56CD67C4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983413" y="4433888"/>
            <a:ext cx="396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3FC1E6FF-A46F-4D48-A53F-817D4DB7CDDC}" type="datetime'''''L''a''''b''''''''''''''''''el'''''''''''''''''''''''''">
              <a:rPr lang="en-US" altLang="en-US" sz="1400" smtClean="0">
                <a:sym typeface="+mn-lt"/>
              </a:rPr>
              <a:pPr marL="0" indent="0" algn="ctr">
                <a:buNone/>
              </a:pPr>
              <a:t>Label</a:t>
            </a:fld>
            <a:endParaRPr lang="en-US" sz="1400" dirty="0"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BCFBAD8-CB52-461E-ADDA-6AF2C2C2B7C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075238" y="4162425"/>
            <a:ext cx="141288" cy="212725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8A944550-CB3C-45B9-A9EA-A470CA7FF0E5}" type="datetime'''''''''''''''''''''''''''''4'''''''''''''''''''''">
              <a:rPr lang="en-US" altLang="en-US" sz="1400" smtClean="0">
                <a:sym typeface="+mn-lt"/>
              </a:rPr>
              <a:pPr marL="0" indent="0" algn="ctr">
                <a:buNone/>
              </a:pPr>
              <a:t>4</a:t>
            </a:fld>
            <a:endParaRPr lang="en-US" sz="1400" dirty="0"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DDAB3A6-DBC3-4329-86B2-F3706CFA4F9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078413" y="4433888"/>
            <a:ext cx="396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C4F0C7F5-EE9F-471C-A314-1E1CB2E8D7BA}" type="datetime'''''L''''''a''''''''''''''''''''''''''b''''e''''''''l'''''">
              <a:rPr lang="en-US" altLang="en-US" sz="1400" smtClean="0">
                <a:sym typeface="+mn-lt"/>
              </a:rPr>
              <a:pPr marL="0" indent="0" algn="ctr">
                <a:buNone/>
              </a:pPr>
              <a:t>Label</a:t>
            </a:fld>
            <a:endParaRPr lang="en-US" sz="1400" dirty="0"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CD27D2E-D014-4B17-A5BB-9D039173CD6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437063" y="3790950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2C4BBC83-C13E-45B0-9E1B-E3E37056573C}" type="datetime'''''''''''''''''''''''''''S''''''''e''''''''''''''ri''''''es'">
              <a:rPr lang="en-US" altLang="en-US" sz="1400" smtClean="0">
                <a:sym typeface="+mn-lt"/>
              </a:rPr>
              <a:pPr marL="0" indent="0" algn="r">
                <a:buNone/>
              </a:pPr>
              <a:t>Series</a:t>
            </a:fld>
            <a:endParaRPr lang="en-US" sz="1400" dirty="0"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67DA5E4-4EB4-42E5-9781-8929DFCA126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030913" y="4433888"/>
            <a:ext cx="396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E101D7A8-FFF2-4BDB-AF44-B5A58AB3732D}" type="datetime'''La''''''''''''''''''be''''''''''''''l'''''''''''''">
              <a:rPr lang="en-US" altLang="en-US" sz="1400" smtClean="0">
                <a:sym typeface="+mn-lt"/>
              </a:rPr>
              <a:pPr marL="0" indent="0" algn="ctr">
                <a:buNone/>
              </a:pPr>
              <a:t>Label</a:t>
            </a:fld>
            <a:endParaRPr lang="en-US" sz="1400" dirty="0"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4EEE278-C884-46C3-BC74-AF19EE10CA6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437063" y="4054475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02EB37E5-8062-4384-B673-3EF1769F726B}" type="datetime'''''''S''''''''''''''er''i''''''''''e''''''''''''''s'''''">
              <a:rPr lang="en-US" altLang="en-US" sz="1400" smtClean="0">
                <a:sym typeface="+mn-lt"/>
              </a:rPr>
              <a:pPr marL="0" indent="0" algn="r">
                <a:buNone/>
              </a:pPr>
              <a:t>Series</a:t>
            </a:fld>
            <a:endParaRPr lang="en-US" sz="1400" dirty="0"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E12447F-9692-45B2-9151-901B836DECB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60963" y="3195638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A93F82E2-4A78-44DE-BEBA-603F574F63B7}" type="datetime'''''2''''''''''''''''''''''''''''''''''''''''''''''''''2'''">
              <a:rPr lang="en-US" altLang="en-US" sz="1400" smtClean="0">
                <a:sym typeface="+mn-lt"/>
              </a:rPr>
              <a:pPr marL="0" indent="0" algn="ctr">
                <a:buNone/>
              </a:pPr>
              <a:t>22</a:t>
            </a:fld>
            <a:endParaRPr lang="en-US" sz="1400" dirty="0"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2E91309-9B67-42A3-A79B-A79E4EC8E9F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113463" y="2794000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9F6AA7DF-EA96-4F1C-8926-190BA6EE87DF}" type="datetime'''''3''''''''1'''">
              <a:rPr lang="en-US" altLang="en-US" sz="1400" smtClean="0">
                <a:sym typeface="+mn-lt"/>
              </a:rPr>
              <a:pPr marL="0" indent="0" algn="ctr">
                <a:buNone/>
              </a:pPr>
              <a:t>31</a:t>
            </a:fld>
            <a:endParaRPr lang="en-US" sz="1400" dirty="0"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D497223-89BE-45B8-9E5B-18C8ED32200B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065963" y="2141538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81138CAF-3C4A-4E65-8B4D-F2A422ED20B1}" type="datetime'''''''''''''''''''''''4''''6'''''''''''''''''">
              <a:rPr lang="en-US" altLang="en-US" sz="1400" smtClean="0">
                <a:sym typeface="+mn-lt"/>
              </a:rPr>
              <a:pPr marL="0" indent="0" algn="ctr">
                <a:buNone/>
              </a:pPr>
              <a:t>46</a:t>
            </a:fld>
            <a:endParaRPr lang="en-US" sz="1400" dirty="0">
              <a:sym typeface="+mn-lt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47239DA6-829C-491C-8896-D35034A059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B17B2050-4D50-469E-9A56-F21F0290EE05}" type="thinkcell&lt;?xml version=&quot;1.0&quot; encoding=&quot;UTF-16&quot; standalone=&quot;yes&quot;?&gt;&lt;root reqver=&quot;25060&quot;&gt;&lt;version val=&quot;27856&quot;/&gt;&lt;PersistentType&gt;&lt;m_varval type=&quot;5&quot;/&gt;&lt;m_prec&gt;&lt;m_yearfmt&gt;&lt;begin val=&quot;0&quot;/&gt;&lt;end val=&quot;4&quot;/&gt;&lt;/m_yearfmt&gt;&lt;/m_prec&gt;&lt;m_strName&gt;Title&lt;/m_strName&gt;&lt;/PersistentType&gt;&lt;/root&gt;">
              <a:rPr lang="en-US" altLang="en-US" smtClean="0"/>
              <a:pPr/>
              <a:t>&lt;Title&gt;</a:t>
            </a:fld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70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PG.unaRdK1V5Mhi3K4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qoYIU9QvWpP53bvxxS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lUkpxgTLaXk1Ree54Q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pcT1xzQViqDiIanxZs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DNrbqSNCNMVj7iz7h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EH0nJuQnuAIaFbEEVC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XMXjbHSuadel2Qidc2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ixLHVyRRuSW4v7K9XP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DiZcrCRHaSvdJoj3Cu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h5WsLuRmiBTkhIjcSJ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FN3lK_Tz6xJnf4cqGY4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w_9LNRIygy2HJ_Dui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Fkh6bFQ1KYJSK0xLbT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LWnE3cRrmWUSIQOnjn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C4bUOwQvyXbVSPrn1o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43Rr2T42DS4aA0JC86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BrVzwQQjOuIokwtshH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x_rfMRT2.1V24sepoi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jTfwdySnWDJi2ga3_R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yPHEv0Q6W83BCaDcYZ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AOeFiGSCW5B73nXoxL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u1t5cTSWeexSxy5AO2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F1E1VTRqybGHZWNGQL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wTg9n_TLaiJQwGVF18O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37</Words>
  <Application>Microsoft Office PowerPoint</Application>
  <PresentationFormat>On-screen Show (4:3)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Office Theme</vt:lpstr>
      <vt:lpstr>think-cell Slide</vt:lpstr>
      <vt:lpstr>&lt;Title&gt;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rno Schödl</dc:creator>
  <cp:lastModifiedBy>TC073</cp:lastModifiedBy>
  <cp:revision>6</cp:revision>
  <dcterms:created xsi:type="dcterms:W3CDTF">2017-07-28T16:17:58Z</dcterms:created>
  <dcterms:modified xsi:type="dcterms:W3CDTF">2019-04-10T08:29:46Z</dcterms:modified>
</cp:coreProperties>
</file>